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67" r:id="rId2"/>
    <p:sldId id="266" r:id="rId3"/>
    <p:sldId id="264" r:id="rId4"/>
    <p:sldId id="268" r:id="rId5"/>
    <p:sldId id="269" r:id="rId6"/>
    <p:sldId id="270" r:id="rId7"/>
    <p:sldId id="271" r:id="rId8"/>
    <p:sldId id="272" r:id="rId9"/>
    <p:sldId id="274" r:id="rId10"/>
    <p:sldId id="273" r:id="rId11"/>
  </p:sldIdLst>
  <p:sldSz cx="9906000" cy="6858000" type="A4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100" d="100"/>
          <a:sy n="100" d="100"/>
        </p:scale>
        <p:origin x="-984" y="-264"/>
      </p:cViewPr>
      <p:guideLst>
        <p:guide orient="horz" pos="845"/>
        <p:guide orient="horz" pos="4110"/>
        <p:guide pos="172"/>
        <p:guide pos="6068"/>
        <p:guide pos="3029"/>
        <p:guide pos="32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2814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270832" y="8946500"/>
            <a:ext cx="499480" cy="12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F8B79FB4-6C61-4923-AA6F-38427ACC33B8}" type="datetimeFigureOut">
              <a:rPr lang="en-US" sz="800" smtClean="0"/>
              <a:pPr algn="l"/>
              <a:t>10/26/2016</a:t>
            </a:fld>
            <a:endParaRPr lang="en-US" sz="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1054400" y="8946500"/>
            <a:ext cx="4483052" cy="12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6" name="Rechteck 5"/>
          <p:cNvSpPr/>
          <p:nvPr/>
        </p:nvSpPr>
        <p:spPr bwMode="gray">
          <a:xfrm>
            <a:off x="6165304" y="8883352"/>
            <a:ext cx="288032" cy="2606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3"/>
          </p:nvPr>
        </p:nvSpPr>
        <p:spPr bwMode="gray">
          <a:xfrm>
            <a:off x="6165336" y="8946500"/>
            <a:ext cx="288000" cy="126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/>
            </a:lvl1pPr>
          </a:lstStyle>
          <a:p>
            <a:pPr algn="ctr"/>
            <a:fld id="{9179A6DD-1B1A-4238-A284-7825C0DCB1DD}" type="slidenum">
              <a:rPr lang="en-US" sz="800" b="1" smtClean="0"/>
              <a:pPr algn="ctr"/>
              <a:t>‹#›</a:t>
            </a:fld>
            <a:endParaRPr lang="en-US" sz="800" b="1" dirty="0"/>
          </a:p>
        </p:txBody>
      </p:sp>
      <p:pic>
        <p:nvPicPr>
          <p:cNvPr id="31" name="Picture 379" descr="Z:\Kunden\ESMT\Bobik_Logoaustasuch_Mai_2016\ESMT-Logo-Final-NEU_Farbe-Solo_scr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1034" y="0"/>
            <a:ext cx="1169424" cy="576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19503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Datumsplatzhalter 2"/>
          <p:cNvSpPr>
            <a:spLocks noGrp="1"/>
          </p:cNvSpPr>
          <p:nvPr>
            <p:ph type="dt" sz="quarter" idx="1"/>
          </p:nvPr>
        </p:nvSpPr>
        <p:spPr>
          <a:xfrm>
            <a:off x="270832" y="8946500"/>
            <a:ext cx="499480" cy="12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F8B79FB4-6C61-4923-AA6F-38427ACC33B8}" type="datetimeFigureOut">
              <a:rPr lang="en-US" sz="800" smtClean="0"/>
              <a:pPr algn="l"/>
              <a:t>10/26/2016</a:t>
            </a:fld>
            <a:endParaRPr lang="en-US" sz="800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4"/>
          </p:nvPr>
        </p:nvSpPr>
        <p:spPr>
          <a:xfrm>
            <a:off x="1054400" y="8946500"/>
            <a:ext cx="4483052" cy="12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11" name="Rechteck 10"/>
          <p:cNvSpPr/>
          <p:nvPr/>
        </p:nvSpPr>
        <p:spPr>
          <a:xfrm>
            <a:off x="6165304" y="8883352"/>
            <a:ext cx="288032" cy="2606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Foliennummernplatzhalter 29"/>
          <p:cNvSpPr>
            <a:spLocks noGrp="1"/>
          </p:cNvSpPr>
          <p:nvPr>
            <p:ph type="sldNum" sz="quarter" idx="5"/>
          </p:nvPr>
        </p:nvSpPr>
        <p:spPr>
          <a:xfrm>
            <a:off x="6165336" y="8946500"/>
            <a:ext cx="288000" cy="126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/>
            </a:lvl1pPr>
          </a:lstStyle>
          <a:p>
            <a:pPr algn="ctr"/>
            <a:fld id="{9179A6DD-1B1A-4238-A284-7825C0DCB1DD}" type="slidenum">
              <a:rPr lang="en-US" sz="800" b="1" smtClean="0"/>
              <a:pPr algn="ctr"/>
              <a:t>‹#›</a:t>
            </a:fld>
            <a:endParaRPr lang="en-US" sz="800" b="1" dirty="0"/>
          </a:p>
        </p:txBody>
      </p:sp>
      <p:pic>
        <p:nvPicPr>
          <p:cNvPr id="67" name="Picture 379" descr="Z:\Kunden\ESMT\Bobik_Logoaustasuch_Mai_2016\ESMT-Logo-Final-NEU_Farbe-Solo_scr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3764" y="0"/>
            <a:ext cx="1169424" cy="576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47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lnSpc>
        <a:spcPct val="90000"/>
      </a:lnSpc>
      <a:spcBef>
        <a:spcPts val="400"/>
      </a:spcBef>
      <a:buClr>
        <a:schemeClr val="tx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7188" indent="-176213" algn="l" defTabSz="914400" rtl="0" eaLnBrk="1" latinLnBrk="0" hangingPunct="1">
      <a:lnSpc>
        <a:spcPct val="90000"/>
      </a:lnSpc>
      <a:spcBef>
        <a:spcPts val="400"/>
      </a:spcBef>
      <a:buClr>
        <a:schemeClr val="tx1"/>
      </a:buClr>
      <a:buFont typeface="Arial Narrow" panose="020B060602020203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8163" indent="-180975" algn="l" defTabSz="914400" rtl="0" eaLnBrk="1" latinLnBrk="0" hangingPunct="1">
      <a:lnSpc>
        <a:spcPct val="90000"/>
      </a:lnSpc>
      <a:spcBef>
        <a:spcPts val="400"/>
      </a:spcBef>
      <a:buClr>
        <a:schemeClr val="tx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914400" rtl="0" eaLnBrk="1" latinLnBrk="0" hangingPunct="1">
      <a:lnSpc>
        <a:spcPct val="90000"/>
      </a:lnSpc>
      <a:spcBef>
        <a:spcPts val="400"/>
      </a:spcBef>
      <a:buClr>
        <a:schemeClr val="tx1"/>
      </a:buClr>
      <a:buFont typeface="Arial Narrow" panose="020B060602020203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5350" indent="-176213" algn="l" defTabSz="914400" rtl="0" eaLnBrk="1" latinLnBrk="0" hangingPunct="1">
      <a:lnSpc>
        <a:spcPct val="90000"/>
      </a:lnSpc>
      <a:spcBef>
        <a:spcPts val="400"/>
      </a:spcBef>
      <a:buClr>
        <a:schemeClr val="tx1"/>
      </a:buClr>
      <a:buFont typeface="Arial" panose="020B0604020202020204" pitchFamily="34" charset="0"/>
      <a:buChar char="•"/>
      <a:defRPr sz="1200" kern="1200" baseline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5C0F371-91AA-48B5-8117-96840E94580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715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19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72480" y="2600908"/>
            <a:ext cx="8620508" cy="984885"/>
          </a:xfrm>
        </p:spPr>
        <p:txBody>
          <a:bodyPr anchor="b"/>
          <a:lstStyle>
            <a:lvl1pPr algn="l">
              <a:spcBef>
                <a:spcPts val="0"/>
              </a:spcBef>
              <a:defRPr sz="32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72480" y="3647351"/>
            <a:ext cx="8620508" cy="30538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6417333"/>
            <a:ext cx="9906000" cy="440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73050" y="4382267"/>
            <a:ext cx="8619938" cy="23486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noProof="0" dirty="0" smtClean="0"/>
              <a:t>Department  |  Presenter</a:t>
            </a:r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273050" y="4617132"/>
            <a:ext cx="8619938" cy="2160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noProof="0" dirty="0" smtClean="0"/>
              <a:t>City  |  date</a:t>
            </a:r>
          </a:p>
        </p:txBody>
      </p:sp>
    </p:spTree>
    <p:extLst>
      <p:ext uri="{BB962C8B-B14F-4D97-AF65-F5344CB8AC3E}">
        <p14:creationId xmlns:p14="http://schemas.microsoft.com/office/powerpoint/2010/main" val="194825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5EB7-4C4A-455E-8D4F-EABC4B6DE1DC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73050" y="1329705"/>
            <a:ext cx="9359900" cy="263091"/>
          </a:xfrm>
        </p:spPr>
        <p:txBody>
          <a:bodyPr>
            <a:noAutofit/>
          </a:bodyPr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 marL="3175" indent="0">
              <a:spcBef>
                <a:spcPts val="0"/>
              </a:spcBef>
              <a:buNone/>
              <a:defRPr sz="1800"/>
            </a:lvl2pPr>
            <a:lvl3pPr marL="3175" indent="0">
              <a:spcBef>
                <a:spcPts val="0"/>
              </a:spcBef>
              <a:buNone/>
              <a:defRPr sz="1800"/>
            </a:lvl3pPr>
            <a:lvl4pPr marL="3175" indent="0">
              <a:spcBef>
                <a:spcPts val="0"/>
              </a:spcBef>
              <a:buNone/>
              <a:defRPr sz="1800"/>
            </a:lvl4pPr>
            <a:lvl5pPr marL="3175" indent="0">
              <a:spcBef>
                <a:spcPts val="0"/>
              </a:spcBef>
              <a:buNone/>
              <a:defRPr sz="1800"/>
            </a:lvl5pPr>
          </a:lstStyle>
          <a:p>
            <a:pPr lvl="0"/>
            <a:r>
              <a:rPr lang="en-US" noProof="0" dirty="0" smtClean="0"/>
              <a:t>Click to edit Subtit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</p:spTree>
    <p:extLst>
      <p:ext uri="{BB962C8B-B14F-4D97-AF65-F5344CB8AC3E}">
        <p14:creationId xmlns:p14="http://schemas.microsoft.com/office/powerpoint/2010/main" val="251388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10"/>
          </p:nvPr>
        </p:nvSpPr>
        <p:spPr>
          <a:xfrm>
            <a:off x="273051" y="6669360"/>
            <a:ext cx="497260" cy="124124"/>
          </a:xfrm>
        </p:spPr>
        <p:txBody>
          <a:bodyPr/>
          <a:lstStyle/>
          <a:p>
            <a:fld id="{F4905EB7-4C4A-455E-8D4F-EABC4B6DE1DC}" type="datetime5">
              <a:rPr lang="en-US" noProof="0" smtClean="0"/>
              <a:t>26-Oct-1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4439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620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 bwMode="gray">
          <a:xfrm>
            <a:off x="0" y="6524625"/>
            <a:ext cx="9906000" cy="333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en-US" sz="1600" noProof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730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879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 bwMode="gray"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en-US" sz="1600" noProof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201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er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722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72480" y="3681028"/>
            <a:ext cx="8620508" cy="984885"/>
          </a:xfrm>
        </p:spPr>
        <p:txBody>
          <a:bodyPr anchor="b"/>
          <a:lstStyle>
            <a:lvl1pPr algn="l">
              <a:spcBef>
                <a:spcPts val="0"/>
              </a:spcBef>
              <a:defRPr sz="320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72480" y="4728798"/>
            <a:ext cx="8620508" cy="30538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6422243"/>
            <a:ext cx="9906000" cy="440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273050" y="5481228"/>
            <a:ext cx="8619938" cy="23486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noProof="0" dirty="0" smtClean="0"/>
              <a:t>Department  |  Presenter</a:t>
            </a:r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73050" y="5716093"/>
            <a:ext cx="8619938" cy="2160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noProof="0" dirty="0" smtClean="0"/>
              <a:t>City  |  date</a:t>
            </a:r>
          </a:p>
        </p:txBody>
      </p:sp>
      <p:pic>
        <p:nvPicPr>
          <p:cNvPr id="13" name="Picture 149" descr="C:\screenmakers\Kunden\ESMT\Grafik\Titelbild_Berlin_kleiner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56" y="0"/>
            <a:ext cx="7345363" cy="352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599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471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73050" y="1339651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1</a:t>
            </a:r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1245965" y="1339651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73050" y="1987562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2</a:t>
            </a:r>
            <a:endParaRPr lang="en-US" noProof="0" dirty="0"/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1245965" y="1987562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73050" y="2634356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3</a:t>
            </a:r>
            <a:endParaRPr lang="en-US" noProof="0" dirty="0"/>
          </a:p>
        </p:txBody>
      </p:sp>
      <p:sp>
        <p:nvSpPr>
          <p:cNvPr id="21" name="Textplatzhalt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1245965" y="2634356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73050" y="3283706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4</a:t>
            </a:r>
            <a:endParaRPr lang="en-US" noProof="0" dirty="0"/>
          </a:p>
        </p:txBody>
      </p:sp>
      <p:sp>
        <p:nvSpPr>
          <p:cNvPr id="23" name="Textplatzhalt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1245965" y="3283706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73050" y="3931778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5</a:t>
            </a:r>
            <a:endParaRPr lang="en-US" noProof="0" dirty="0"/>
          </a:p>
        </p:txBody>
      </p:sp>
      <p:sp>
        <p:nvSpPr>
          <p:cNvPr id="25" name="Textplatzhalt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1245965" y="3931778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73050" y="4579850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6</a:t>
            </a:r>
            <a:endParaRPr lang="en-US" noProof="0" dirty="0"/>
          </a:p>
        </p:txBody>
      </p:sp>
      <p:sp>
        <p:nvSpPr>
          <p:cNvPr id="27" name="Textplatzhalt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1245965" y="4579850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73050" y="5226644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7</a:t>
            </a:r>
            <a:endParaRPr lang="en-US" noProof="0" dirty="0"/>
          </a:p>
        </p:txBody>
      </p:sp>
      <p:sp>
        <p:nvSpPr>
          <p:cNvPr id="29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1245965" y="5226644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273050" y="5875994"/>
            <a:ext cx="934853" cy="541338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800"/>
            </a:lvl2pPr>
            <a:lvl3pPr marL="357187" indent="0">
              <a:buNone/>
              <a:defRPr sz="1800"/>
            </a:lvl3pPr>
            <a:lvl4pPr marL="53657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en-US" noProof="0" dirty="0" smtClean="0"/>
              <a:t>Chapter 8</a:t>
            </a:r>
            <a:endParaRPr lang="en-US" noProof="0" dirty="0"/>
          </a:p>
        </p:txBody>
      </p:sp>
      <p:sp>
        <p:nvSpPr>
          <p:cNvPr id="31" name="Textplatzhalt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1245965" y="5875994"/>
            <a:ext cx="8386985" cy="541338"/>
          </a:xfrm>
          <a:solidFill>
            <a:schemeClr val="accent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179388" indent="0">
              <a:buNone/>
              <a:defRPr sz="1800" b="0">
                <a:solidFill>
                  <a:schemeClr val="accent1"/>
                </a:solidFill>
              </a:defRPr>
            </a:lvl2pPr>
            <a:lvl3pPr marL="357187" indent="0">
              <a:buNone/>
              <a:defRPr sz="1800" b="0">
                <a:solidFill>
                  <a:schemeClr val="accent1"/>
                </a:solidFill>
              </a:defRPr>
            </a:lvl3pPr>
            <a:lvl4pPr marL="536575" indent="0">
              <a:buNone/>
              <a:defRPr sz="1800" b="0">
                <a:solidFill>
                  <a:schemeClr val="accent1"/>
                </a:solidFill>
              </a:defRPr>
            </a:lvl4pPr>
            <a:lvl5pPr marL="714375" indent="0">
              <a:buNone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smtClean="0"/>
              <a:t>Chapter description</a:t>
            </a:r>
            <a:endParaRPr lang="en-US" noProof="0" dirty="0"/>
          </a:p>
        </p:txBody>
      </p:sp>
      <p:sp>
        <p:nvSpPr>
          <p:cNvPr id="32" name="Rechteck 31"/>
          <p:cNvSpPr/>
          <p:nvPr userDrawn="1"/>
        </p:nvSpPr>
        <p:spPr>
          <a:xfrm>
            <a:off x="0" y="6422243"/>
            <a:ext cx="9906000" cy="440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2196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5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05722-1B57-4620-9B61-73E001F8AEBE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73050" y="1329705"/>
            <a:ext cx="9359900" cy="263091"/>
          </a:xfrm>
        </p:spPr>
        <p:txBody>
          <a:bodyPr>
            <a:noAutofit/>
          </a:bodyPr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800"/>
            </a:lvl1pPr>
            <a:lvl2pPr marL="3175" indent="0">
              <a:spcBef>
                <a:spcPts val="0"/>
              </a:spcBef>
              <a:buNone/>
              <a:defRPr sz="1800"/>
            </a:lvl2pPr>
            <a:lvl3pPr marL="3175" indent="0">
              <a:spcBef>
                <a:spcPts val="0"/>
              </a:spcBef>
              <a:buNone/>
              <a:defRPr sz="1800"/>
            </a:lvl3pPr>
            <a:lvl4pPr marL="3175" indent="0">
              <a:spcBef>
                <a:spcPts val="0"/>
              </a:spcBef>
              <a:buNone/>
              <a:defRPr sz="1800"/>
            </a:lvl4pPr>
            <a:lvl5pPr marL="3175" indent="0">
              <a:spcBef>
                <a:spcPts val="0"/>
              </a:spcBef>
              <a:buNone/>
              <a:defRPr sz="1800"/>
            </a:lvl5pPr>
          </a:lstStyle>
          <a:p>
            <a:pPr lvl="0"/>
            <a:r>
              <a:rPr lang="en-US" noProof="0" dirty="0" smtClean="0"/>
              <a:t>Click to edit Sub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1700213"/>
            <a:ext cx="9359900" cy="4537075"/>
          </a:xfrm>
        </p:spPr>
        <p:txBody>
          <a:bodyPr/>
          <a:lstStyle/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562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2275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CC038B-DA78-4A72-8B04-16F1C9BFEB7E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1341439"/>
            <a:ext cx="9359900" cy="4895850"/>
          </a:xfrm>
        </p:spPr>
        <p:txBody>
          <a:bodyPr/>
          <a:lstStyle/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277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with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00818-1606-42A4-9C93-65FF32890BAD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73050" y="1329705"/>
            <a:ext cx="9359900" cy="263091"/>
          </a:xfrm>
        </p:spPr>
        <p:txBody>
          <a:bodyPr>
            <a:noAutofit/>
          </a:bodyPr>
          <a:lstStyle>
            <a:lvl1pPr marL="3175" indent="0">
              <a:spcBef>
                <a:spcPts val="0"/>
              </a:spcBef>
              <a:buFont typeface="Arial" panose="020B0604020202020204" pitchFamily="34" charset="0"/>
              <a:buNone/>
              <a:defRPr sz="1800"/>
            </a:lvl1pPr>
            <a:lvl2pPr marL="3175" indent="0">
              <a:spcBef>
                <a:spcPts val="0"/>
              </a:spcBef>
              <a:buNone/>
              <a:defRPr sz="1800"/>
            </a:lvl2pPr>
            <a:lvl3pPr marL="3175" indent="0">
              <a:spcBef>
                <a:spcPts val="0"/>
              </a:spcBef>
              <a:buNone/>
              <a:defRPr sz="1800"/>
            </a:lvl3pPr>
            <a:lvl4pPr marL="3175" indent="0">
              <a:spcBef>
                <a:spcPts val="0"/>
              </a:spcBef>
              <a:buNone/>
              <a:defRPr sz="1800"/>
            </a:lvl4pPr>
            <a:lvl5pPr marL="3175" indent="0">
              <a:spcBef>
                <a:spcPts val="0"/>
              </a:spcBef>
              <a:buNone/>
              <a:defRPr sz="1800"/>
            </a:lvl5pPr>
          </a:lstStyle>
          <a:p>
            <a:pPr lvl="0"/>
            <a:r>
              <a:rPr lang="en-US" noProof="0" dirty="0" smtClean="0"/>
              <a:t>Click to edit Subtitle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73050" y="1700213"/>
            <a:ext cx="4535488" cy="4537075"/>
          </a:xfrm>
        </p:spPr>
        <p:txBody>
          <a:bodyPr/>
          <a:lstStyle/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097463" y="1700213"/>
            <a:ext cx="4535488" cy="45370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5101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54C80-2B28-4C47-B188-4443A36CC97E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73050" y="1341439"/>
            <a:ext cx="453548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097463" y="1341439"/>
            <a:ext cx="453548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661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48E2B-37BF-464F-99E4-73D34A133327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/>
          </p:nvPr>
        </p:nvSpPr>
        <p:spPr>
          <a:xfrm>
            <a:off x="5097463" y="1341438"/>
            <a:ext cx="4535487" cy="48958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73050" y="1341439"/>
            <a:ext cx="453548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7668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98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705CF-A99B-4F08-B60A-1BDA9F545C73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273050" y="6273800"/>
            <a:ext cx="9359900" cy="2413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  <a:lvl2pPr marL="0" indent="0">
              <a:spcBef>
                <a:spcPts val="0"/>
              </a:spcBef>
              <a:buNone/>
              <a:defRPr sz="800"/>
            </a:lvl2pPr>
            <a:lvl3pPr marL="0" indent="0">
              <a:spcBef>
                <a:spcPts val="0"/>
              </a:spcBef>
              <a:buNone/>
              <a:defRPr sz="800"/>
            </a:lvl3pPr>
            <a:lvl4pPr marL="0" indent="0">
              <a:spcBef>
                <a:spcPts val="0"/>
              </a:spcBef>
              <a:buNone/>
              <a:defRPr sz="800"/>
            </a:lvl4pPr>
            <a:lvl5pPr marL="0" indent="0"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noProof="0" dirty="0" smtClean="0"/>
              <a:t>Source: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73050" y="1341525"/>
            <a:ext cx="4535488" cy="360000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Box Headlin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097462" y="1341525"/>
            <a:ext cx="4535488" cy="360000"/>
          </a:xfrm>
          <a:solidFill>
            <a:srgbClr val="1D2D61"/>
          </a:solidFill>
        </p:spPr>
        <p:txBody>
          <a:bodyPr lIns="90000" tIns="46800" rIns="90000" bIns="46800" anchor="ctr"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Box Headline</a:t>
            </a:r>
          </a:p>
        </p:txBody>
      </p:sp>
      <p:sp>
        <p:nvSpPr>
          <p:cNvPr id="24" name="Textplatzhalt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273050" y="1736812"/>
            <a:ext cx="4535488" cy="4500000"/>
          </a:xfrm>
          <a:solidFill>
            <a:schemeClr val="accent1"/>
          </a:solidFill>
        </p:spPr>
        <p:txBody>
          <a:bodyPr lIns="90000" tIns="46800" rIns="90000" bIns="468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5" name="Textplatzhalt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5097462" y="1736812"/>
            <a:ext cx="4535488" cy="4500000"/>
          </a:xfrm>
          <a:solidFill>
            <a:schemeClr val="accent1"/>
          </a:solidFill>
        </p:spPr>
        <p:txBody>
          <a:bodyPr lIns="90000" tIns="46800" rIns="90000" bIns="468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73051" y="116633"/>
            <a:ext cx="7740650" cy="180020"/>
          </a:xfrm>
        </p:spPr>
        <p:txBody>
          <a:bodyPr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noProof="0" dirty="0" smtClean="0"/>
              <a:t>Chapter – Headline or quick information</a:t>
            </a:r>
          </a:p>
        </p:txBody>
      </p:sp>
    </p:spTree>
    <p:extLst>
      <p:ext uri="{BB962C8B-B14F-4D97-AF65-F5344CB8AC3E}">
        <p14:creationId xmlns:p14="http://schemas.microsoft.com/office/powerpoint/2010/main" val="371400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26075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hteck 36"/>
          <p:cNvSpPr/>
          <p:nvPr/>
        </p:nvSpPr>
        <p:spPr>
          <a:xfrm>
            <a:off x="9345488" y="6597352"/>
            <a:ext cx="288032" cy="2606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73051" y="629896"/>
            <a:ext cx="9360469" cy="6388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73050" y="1700213"/>
            <a:ext cx="9360470" cy="45370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 smtClean="0"/>
              <a:t>Click to edit First-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73051" y="6669360"/>
            <a:ext cx="497260" cy="1241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01141751-0A40-4B1A-B35C-8FA07291C2EE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54400" y="6669360"/>
            <a:ext cx="7295398" cy="1241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Title of presentation  |  Department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345488" y="6669360"/>
            <a:ext cx="287462" cy="1241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 b="1">
                <a:solidFill>
                  <a:schemeClr val="tx1"/>
                </a:solidFill>
              </a:defRPr>
            </a:lvl1pPr>
          </a:lstStyle>
          <a:p>
            <a:fld id="{B8B9143A-2201-46D8-9093-2529FD3F75D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28" name="Picture 379" descr="Z:\Kunden\ESMT\Bobik_Logoaustasuch_Mai_2016\ESMT-Logo-Final-NEU_Farbe-Solo_scr01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096" y="0"/>
            <a:ext cx="1169424" cy="576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104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6" r:id="rId3"/>
    <p:sldLayoutId id="2147483650" r:id="rId4"/>
    <p:sldLayoutId id="2147483659" r:id="rId5"/>
    <p:sldLayoutId id="2147483652" r:id="rId6"/>
    <p:sldLayoutId id="2147483660" r:id="rId7"/>
    <p:sldLayoutId id="2147483662" r:id="rId8"/>
    <p:sldLayoutId id="2147483664" r:id="rId9"/>
    <p:sldLayoutId id="2147483661" r:id="rId10"/>
    <p:sldLayoutId id="2147483654" r:id="rId11"/>
    <p:sldLayoutId id="2147483667" r:id="rId12"/>
    <p:sldLayoutId id="2147483668" r:id="rId1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Arial Narrow" panose="020B060602020203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79388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78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Arial Narrow" panose="020B060602020203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113" indent="-185738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113" indent="-18573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2563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898525" indent="-182563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898525" indent="-182563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779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5EB7-4C4A-455E-8D4F-EABC4B6DE1DC}" type="datetime5">
              <a:rPr lang="en-US" noProof="0" smtClean="0"/>
              <a:t>26-Oct-1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0830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7994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40162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0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05722-1B57-4620-9B61-73E001F8AEBE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7605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00818-1606-42A4-9C93-65FF32890BAD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742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54C80-2B28-4C47-B188-4443A36CC97E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7870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705CF-A99B-4F08-B60A-1BDA9F545C73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6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8308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5EB7-4C4A-455E-8D4F-EABC4B6DE1DC}" type="datetime5">
              <a:rPr lang="en-US" noProof="0" smtClean="0"/>
              <a:t>26-Oct-16</a:t>
            </a:fld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9143A-2201-46D8-9093-2529FD3F75D4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944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603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SMT">
      <a:dk1>
        <a:srgbClr val="000000"/>
      </a:dk1>
      <a:lt1>
        <a:sysClr val="window" lastClr="FFFFFF"/>
      </a:lt1>
      <a:dk2>
        <a:srgbClr val="4B4B4B"/>
      </a:dk2>
      <a:lt2>
        <a:srgbClr val="91826B"/>
      </a:lt2>
      <a:accent1>
        <a:srgbClr val="D5D5D9"/>
      </a:accent1>
      <a:accent2>
        <a:srgbClr val="818088"/>
      </a:accent2>
      <a:accent3>
        <a:srgbClr val="A1B2D9"/>
      </a:accent3>
      <a:accent4>
        <a:srgbClr val="798AB3"/>
      </a:accent4>
      <a:accent5>
        <a:srgbClr val="A09FA7"/>
      </a:accent5>
      <a:accent6>
        <a:srgbClr val="444C7F"/>
      </a:accent6>
      <a:hlink>
        <a:srgbClr val="A09FA7"/>
      </a:hlink>
      <a:folHlink>
        <a:srgbClr val="444C7F"/>
      </a:folHlink>
    </a:clrScheme>
    <a:fontScheme name="ESM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400"/>
          </a:spcBef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smt blue">
      <a:srgbClr val="1D2D61"/>
    </a:custClr>
    <a:custClr name="emst red">
      <a:srgbClr val="AF1A1C"/>
    </a:custClr>
  </a:custClrLst>
</a:theme>
</file>

<file path=ppt/theme/theme2.xml><?xml version="1.0" encoding="utf-8"?>
<a:theme xmlns:a="http://schemas.openxmlformats.org/drawingml/2006/main" name="Larissa">
  <a:themeElements>
    <a:clrScheme name="esmt">
      <a:dk1>
        <a:srgbClr val="4B4B4F"/>
      </a:dk1>
      <a:lt1>
        <a:sysClr val="window" lastClr="FFFFFF"/>
      </a:lt1>
      <a:dk2>
        <a:srgbClr val="D5D5D9"/>
      </a:dk2>
      <a:lt2>
        <a:srgbClr val="A09FA7"/>
      </a:lt2>
      <a:accent1>
        <a:srgbClr val="1D2D61"/>
      </a:accent1>
      <a:accent2>
        <a:srgbClr val="444C7F"/>
      </a:accent2>
      <a:accent3>
        <a:srgbClr val="798AB3"/>
      </a:accent3>
      <a:accent4>
        <a:srgbClr val="A1B2D9"/>
      </a:accent4>
      <a:accent5>
        <a:srgbClr val="4B4B4F"/>
      </a:accent5>
      <a:accent6>
        <a:srgbClr val="818088"/>
      </a:accent6>
      <a:hlink>
        <a:srgbClr val="1D2D61"/>
      </a:hlink>
      <a:folHlink>
        <a:srgbClr val="798AB3"/>
      </a:folHlink>
    </a:clrScheme>
    <a:fontScheme name="esmt">
      <a:majorFont>
        <a:latin typeface="Arial Narrow 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esmt">
      <a:dk1>
        <a:srgbClr val="4B4B4F"/>
      </a:dk1>
      <a:lt1>
        <a:sysClr val="window" lastClr="FFFFFF"/>
      </a:lt1>
      <a:dk2>
        <a:srgbClr val="D5D5D9"/>
      </a:dk2>
      <a:lt2>
        <a:srgbClr val="A09FA7"/>
      </a:lt2>
      <a:accent1>
        <a:srgbClr val="1D2D61"/>
      </a:accent1>
      <a:accent2>
        <a:srgbClr val="444C7F"/>
      </a:accent2>
      <a:accent3>
        <a:srgbClr val="798AB3"/>
      </a:accent3>
      <a:accent4>
        <a:srgbClr val="A1B2D9"/>
      </a:accent4>
      <a:accent5>
        <a:srgbClr val="4B4B4F"/>
      </a:accent5>
      <a:accent6>
        <a:srgbClr val="818088"/>
      </a:accent6>
      <a:hlink>
        <a:srgbClr val="1D2D61"/>
      </a:hlink>
      <a:folHlink>
        <a:srgbClr val="798AB3"/>
      </a:folHlink>
    </a:clrScheme>
    <a:fontScheme name="ESMT">
      <a:majorFont>
        <a:latin typeface="Arial Narrow 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</Words>
  <Application>Microsoft Office PowerPoint</Application>
  <PresentationFormat>A4 Paper (210x297 mm)</PresentationFormat>
  <Paragraphs>13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BLANK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SMT - european school of management and technolog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me of presentation</dc:subject>
  <dc:creator>Kulpa, Anna Maria</dc:creator>
  <dc:description>Optimize for PowerPoint 2010</dc:description>
  <cp:lastModifiedBy>Kulpa, Anna Maria</cp:lastModifiedBy>
  <cp:revision>2</cp:revision>
  <dcterms:created xsi:type="dcterms:W3CDTF">2016-10-26T11:31:24Z</dcterms:created>
  <dcterms:modified xsi:type="dcterms:W3CDTF">2016-10-26T11:36:58Z</dcterms:modified>
</cp:coreProperties>
</file>